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2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4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6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7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82" r:id="rId3"/>
    <p:sldMasterId id="2147483695" r:id="rId4"/>
    <p:sldMasterId id="2147483713" r:id="rId5"/>
    <p:sldMasterId id="2147483721" r:id="rId6"/>
    <p:sldMasterId id="2147483734" r:id="rId7"/>
    <p:sldMasterId id="2147483755" r:id="rId8"/>
    <p:sldMasterId id="2147483763" r:id="rId9"/>
    <p:sldMasterId id="2147483783" r:id="rId10"/>
    <p:sldMasterId id="2147483792" r:id="rId11"/>
    <p:sldMasterId id="2147483800" r:id="rId12"/>
    <p:sldMasterId id="2147483809" r:id="rId13"/>
    <p:sldMasterId id="2147483817" r:id="rId14"/>
    <p:sldMasterId id="2147483825" r:id="rId15"/>
    <p:sldMasterId id="2147483834" r:id="rId16"/>
    <p:sldMasterId id="2147483843" r:id="rId17"/>
    <p:sldMasterId id="2147483851" r:id="rId18"/>
  </p:sldMasterIdLst>
  <p:notesMasterIdLst>
    <p:notesMasterId r:id="rId20"/>
  </p:notesMasterIdLst>
  <p:sldIdLst>
    <p:sldId id="1461" r:id="rId19"/>
  </p:sldIdLst>
  <p:sldSz cx="18288000" cy="10285413"/>
  <p:notesSz cx="6858000" cy="9144000"/>
  <p:defaultTextStyle>
    <a:defPPr>
      <a:defRPr lang="ja-JP"/>
    </a:defPPr>
    <a:lvl1pPr marL="0" algn="l" defTabSz="1200000" rtl="0" eaLnBrk="1" latinLnBrk="0" hangingPunct="1">
      <a:defRPr kumimoji="1" sz="2800" kern="1200">
        <a:solidFill>
          <a:schemeClr val="tx1"/>
        </a:solidFill>
        <a:latin typeface="+mn-lt"/>
        <a:ea typeface="+mn-ea"/>
        <a:cs typeface="+mn-cs"/>
      </a:defRPr>
    </a:lvl1pPr>
    <a:lvl2pPr marL="5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2pPr>
    <a:lvl3pPr marL="10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3pPr>
    <a:lvl4pPr marL="15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4pPr>
    <a:lvl5pPr marL="20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5pPr>
    <a:lvl6pPr marL="25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6pPr>
    <a:lvl7pPr marL="30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7pPr>
    <a:lvl8pPr marL="35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8pPr>
    <a:lvl9pPr marL="4000000" algn="l" defTabSz="1200000" rtl="0" eaLnBrk="1" latinLnBrk="0" hangingPunct="1">
      <a:defRPr kumimoji="1"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7175317-B96D-4208-96B5-C14748BE44D8}">
          <p14:sldIdLst>
            <p14:sldId id="14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inkiewicz, Dorota" initials="ZD" lastIdx="1" clrIdx="0">
    <p:extLst>
      <p:ext uri="{19B8F6BF-5375-455C-9EA6-DF929625EA0E}">
        <p15:presenceInfo xmlns:p15="http://schemas.microsoft.com/office/powerpoint/2012/main" userId="S-1-5-21-682003330-1788223648-2146650855-9162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9F4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+mn-lt"/>
          <a:ea typeface="+mn-ea"/>
          <a:cs typeface="+mj-cs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+mn-lt"/>
          <a:ea typeface="+mn-ea"/>
          <a:cs typeface="+mj-cs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78" autoAdjust="0"/>
    <p:restoredTop sz="94661" autoAdjust="0"/>
  </p:normalViewPr>
  <p:slideViewPr>
    <p:cSldViewPr snapToGrid="0" snapToObjects="1">
      <p:cViewPr varScale="1">
        <p:scale>
          <a:sx n="76" d="100"/>
          <a:sy n="76" d="100"/>
        </p:scale>
        <p:origin x="448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2" d="100"/>
          <a:sy n="62" d="100"/>
        </p:scale>
        <p:origin x="334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8" name="Shape 78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015596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765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0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95247" tIns="95247" rIns="95247" bIns="95247" anchor="ctr"/>
          <a:lstStyle/>
          <a:p>
            <a:pPr defTabSz="1601977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3" y="2835376"/>
            <a:ext cx="9803569" cy="21681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3" y="5334111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38585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32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36583978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470309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25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90958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047637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827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ver_r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12"/>
            <a:ext cx="18288002" cy="87616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5202" y="9042966"/>
            <a:ext cx="3617600" cy="91632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>
            <a:spLocks noGrp="1"/>
          </p:cNvSpPr>
          <p:nvPr>
            <p:ph type="title" hasCustomPrompt="1"/>
          </p:nvPr>
        </p:nvSpPr>
        <p:spPr>
          <a:xfrm>
            <a:off x="3036080" y="2640508"/>
            <a:ext cx="12215843" cy="159773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799" b="1" baseline="0">
                <a:solidFill>
                  <a:srgbClr val="FFFFFF"/>
                </a:solidFill>
                <a:latin typeface="+mj-lt"/>
                <a:ea typeface="+mj-ea"/>
                <a:cs typeface="07YasashisaGothicBold" charset="-128"/>
              </a:defRPr>
            </a:lvl1pPr>
          </a:lstStyle>
          <a:p>
            <a:r>
              <a:rPr lang="en-US" dirty="0"/>
              <a:t>R-Style 2017 </a:t>
            </a:r>
            <a:r>
              <a:rPr lang="en-US" dirty="0" err="1"/>
              <a:t>Template_Title</a:t>
            </a:r>
            <a:endParaRPr dirty="0"/>
          </a:p>
        </p:txBody>
      </p:sp>
      <p:sp>
        <p:nvSpPr>
          <p:cNvPr id="12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3036080" y="4886826"/>
            <a:ext cx="6254918" cy="2387734"/>
          </a:xfrm>
          <a:prstGeom prst="rect">
            <a:avLst/>
          </a:prstGeom>
        </p:spPr>
        <p:txBody>
          <a:bodyPr/>
          <a:lstStyle>
            <a:lvl1pPr marL="0" marR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dirty="0"/>
              <a:t>Vol.01 Sep.01.2017</a:t>
            </a:r>
            <a:endParaRPr kumimoji="1" lang="en-US" altLang="ja-JP" dirty="0"/>
          </a:p>
          <a:p>
            <a:pPr marL="0" marR="0" lvl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Rakuten Taro </a:t>
            </a:r>
            <a:br>
              <a:rPr kumimoji="1" lang="en-US" altLang="ja-JP" dirty="0"/>
            </a:br>
            <a:r>
              <a:rPr kumimoji="1" lang="en-US" altLang="ja-JP" dirty="0" err="1"/>
              <a:t>xxxxx</a:t>
            </a:r>
            <a:r>
              <a:rPr kumimoji="1" lang="en-US" altLang="ja-JP" dirty="0"/>
              <a:t> Dept.</a:t>
            </a:r>
            <a:br>
              <a:rPr kumimoji="1" lang="en-US" altLang="ja-JP" dirty="0"/>
            </a:br>
            <a:r>
              <a:rPr kumimoji="1" lang="en-US" altLang="ja-JP" dirty="0"/>
              <a:t>Rakuten Inc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2728931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10" name="図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4" y="9683308"/>
            <a:ext cx="1571625" cy="190501"/>
          </a:xfrm>
          <a:prstGeom prst="rect">
            <a:avLst/>
          </a:prstGeom>
        </p:spPr>
      </p:pic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0360206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2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32" name="image5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4" y="9683308"/>
            <a:ext cx="1571625" cy="190501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14813558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2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44" name="corporatelogo_w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bg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32582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8456635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44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4"/>
            <a:ext cx="1571625" cy="190500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bg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77342756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54334377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1131916" y="4038651"/>
            <a:ext cx="16024178" cy="2389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0170" tIns="40170" rIns="40170" bIns="40170" anchor="ctr">
            <a:spAutoFit/>
          </a:bodyPr>
          <a:lstStyle>
            <a:lvl1pPr>
              <a:defRPr sz="15000">
                <a:solidFill>
                  <a:srgbClr val="D21D00"/>
                </a:solidFill>
                <a:latin typeface="Rakuten Global B"/>
                <a:ea typeface="Rakuten Global B"/>
                <a:cs typeface="Rakuten Global B"/>
                <a:sym typeface="Rakuten Global B"/>
              </a:defRPr>
            </a:lvl1pPr>
          </a:lstStyle>
          <a:p>
            <a:r>
              <a:rPr sz="14999"/>
              <a:t>THANK YOU</a:t>
            </a:r>
          </a:p>
        </p:txBody>
      </p:sp>
      <p:pic>
        <p:nvPicPr>
          <p:cNvPr id="70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46069238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914400" y="1542863"/>
            <a:ext cx="16459200" cy="7644965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69872657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/>
          <p:cNvSpPr/>
          <p:nvPr userDrawn="1"/>
        </p:nvSpPr>
        <p:spPr>
          <a:xfrm>
            <a:off x="0" y="0"/>
            <a:ext cx="18288000" cy="853308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70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9844" y="8813727"/>
            <a:ext cx="4319994" cy="1187817"/>
          </a:xfrm>
          <a:prstGeom prst="rect">
            <a:avLst/>
          </a:prstGeom>
        </p:spPr>
      </p:pic>
      <p:sp>
        <p:nvSpPr>
          <p:cNvPr id="10" name="Shape 16"/>
          <p:cNvSpPr>
            <a:spLocks noGrp="1"/>
          </p:cNvSpPr>
          <p:nvPr>
            <p:ph type="title" hasCustomPrompt="1"/>
          </p:nvPr>
        </p:nvSpPr>
        <p:spPr>
          <a:xfrm>
            <a:off x="1994542" y="1893823"/>
            <a:ext cx="14377574" cy="205251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399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11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994542" y="4859250"/>
            <a:ext cx="8340854" cy="2387734"/>
          </a:xfrm>
          <a:prstGeom prst="rect">
            <a:avLst/>
          </a:prstGeom>
        </p:spPr>
        <p:txBody>
          <a:bodyPr/>
          <a:lstStyle>
            <a:lvl1pPr marL="0" marR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Oct 1, 2018</a:t>
            </a:r>
            <a:br>
              <a:rPr kumimoji="1" lang="en-US" altLang="ja-JP" dirty="0"/>
            </a:br>
            <a:r>
              <a:rPr kumimoji="1" lang="en-US" altLang="ja-JP" dirty="0"/>
              <a:t>Rakuten Taro </a:t>
            </a:r>
            <a:br>
              <a:rPr kumimoji="1" lang="en-US" altLang="ja-JP" dirty="0"/>
            </a:br>
            <a:r>
              <a:rPr kumimoji="1" lang="en-US" altLang="ja-JP" dirty="0" err="1"/>
              <a:t>xxxxx</a:t>
            </a:r>
            <a:r>
              <a:rPr kumimoji="1" lang="en-US" altLang="ja-JP" dirty="0"/>
              <a:t> Dept.</a:t>
            </a:r>
            <a:br>
              <a:rPr kumimoji="1" lang="en-US" altLang="ja-JP" dirty="0"/>
            </a:br>
            <a:r>
              <a:rPr kumimoji="1" lang="en-US" altLang="ja-JP" dirty="0" err="1"/>
              <a:t>Rakuten</a:t>
            </a:r>
            <a:r>
              <a:rPr kumimoji="1" lang="en-US" altLang="ja-JP" dirty="0"/>
              <a:t>, Inc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59903355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501653" y="485927"/>
            <a:ext cx="17284698" cy="8093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150"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8" name="テキスト ボックス 17"/>
          <p:cNvSpPr txBox="1"/>
          <p:nvPr userDrawn="1"/>
        </p:nvSpPr>
        <p:spPr>
          <a:xfrm>
            <a:off x="16191295" y="9594067"/>
            <a:ext cx="1528973" cy="4057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4" tIns="71434" rIns="71434" bIns="71434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699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699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1653" y="1543050"/>
            <a:ext cx="1728470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359970" indent="-17998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  <a:defRPr sz="1999">
                <a:solidFill>
                  <a:schemeClr val="tx1"/>
                </a:solidFill>
                <a:latin typeface="+mn-lt"/>
                <a:ea typeface="+mn-ea"/>
              </a:defRPr>
            </a:lvl2pPr>
            <a:lvl3pPr marL="53995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3pPr>
            <a:lvl4pPr marL="71994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4pPr>
            <a:lvl5pPr marL="89992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5pPr>
            <a:lvl6pPr marL="107991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6pPr>
            <a:lvl7pPr marL="125989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7pPr>
            <a:lvl8pPr marL="143988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8pPr>
            <a:lvl9pPr marL="161986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802" y="9612032"/>
            <a:ext cx="576000" cy="431933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112E315A-919A-FB4B-93B5-CB129C47A0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5008" y="9718500"/>
            <a:ext cx="2708640" cy="178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6476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1651" y="482454"/>
            <a:ext cx="17284698" cy="8093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150"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8" name="テキスト ボックス 17"/>
          <p:cNvSpPr txBox="1"/>
          <p:nvPr userDrawn="1"/>
        </p:nvSpPr>
        <p:spPr>
          <a:xfrm>
            <a:off x="16191295" y="9594067"/>
            <a:ext cx="1528973" cy="4057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4" tIns="71434" rIns="71434" bIns="71434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699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699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1652" y="1543050"/>
            <a:ext cx="1728470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359970" indent="-17998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  <a:defRPr sz="1999">
                <a:solidFill>
                  <a:schemeClr val="tx1"/>
                </a:solidFill>
                <a:latin typeface="+mn-lt"/>
                <a:ea typeface="+mn-ea"/>
              </a:defRPr>
            </a:lvl2pPr>
            <a:lvl3pPr marL="53995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3pPr>
            <a:lvl4pPr marL="71994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4pPr>
            <a:lvl5pPr marL="89992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n-ea"/>
              </a:defRPr>
            </a:lvl5pPr>
            <a:lvl6pPr marL="107991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6pPr>
            <a:lvl7pPr marL="125989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7pPr>
            <a:lvl8pPr marL="143988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8pPr>
            <a:lvl9pPr marL="161986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tx1"/>
                </a:solidFill>
                <a:latin typeface="+mn-lt"/>
                <a:ea typeface="+mj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802" y="9612032"/>
            <a:ext cx="576000" cy="431933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112E315A-919A-FB4B-93B5-CB129C47A0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5008" y="9718500"/>
            <a:ext cx="2708640" cy="178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845839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1651" y="482454"/>
            <a:ext cx="17284698" cy="8093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199"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9" name="テキスト ボックス 18"/>
          <p:cNvSpPr txBox="1"/>
          <p:nvPr userDrawn="1"/>
        </p:nvSpPr>
        <p:spPr>
          <a:xfrm>
            <a:off x="16191295" y="9594067"/>
            <a:ext cx="1528973" cy="4057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4" tIns="71434" rIns="71434" bIns="71434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699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699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1651" y="1543050"/>
            <a:ext cx="17284698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359970" indent="-17998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  <a:defRPr sz="1999">
                <a:solidFill>
                  <a:schemeClr val="bg1"/>
                </a:solidFill>
                <a:latin typeface="+mn-lt"/>
                <a:ea typeface="+mn-ea"/>
              </a:defRPr>
            </a:lvl2pPr>
            <a:lvl3pPr marL="53995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n-ea"/>
              </a:defRPr>
            </a:lvl3pPr>
            <a:lvl4pPr marL="71994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n-ea"/>
              </a:defRPr>
            </a:lvl4pPr>
            <a:lvl5pPr marL="89992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n-ea"/>
              </a:defRPr>
            </a:lvl5pPr>
            <a:lvl6pPr marL="107991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j-ea"/>
              </a:defRPr>
            </a:lvl6pPr>
            <a:lvl7pPr marL="125989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j-ea"/>
              </a:defRPr>
            </a:lvl7pPr>
            <a:lvl8pPr marL="1439880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j-ea"/>
              </a:defRPr>
            </a:lvl8pPr>
            <a:lvl9pPr marL="1619865" indent="-179985">
              <a:lnSpc>
                <a:spcPct val="100000"/>
              </a:lnSpc>
              <a:spcAft>
                <a:spcPts val="1800"/>
              </a:spcAft>
              <a:defRPr sz="1999">
                <a:solidFill>
                  <a:schemeClr val="bg1"/>
                </a:solidFill>
                <a:latin typeface="+mn-lt"/>
                <a:ea typeface="+mj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9802" y="9612032"/>
            <a:ext cx="576000" cy="431933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038D3B1E-B8D1-874A-9620-3156F1C92B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3312" y="9718500"/>
            <a:ext cx="2708640" cy="178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315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4" y="3"/>
            <a:ext cx="18287999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8612886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90515" y="4447297"/>
            <a:ext cx="4909088" cy="134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628159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89458" y="4447300"/>
            <a:ext cx="4909088" cy="134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30839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4010384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0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95247" tIns="95247" rIns="95247" bIns="95247" anchor="ctr"/>
          <a:lstStyle/>
          <a:p>
            <a:pPr defTabSz="1601977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3" y="2835376"/>
            <a:ext cx="9803569" cy="21681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3" y="5334111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583213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8" y="9684000"/>
            <a:ext cx="2175120" cy="190800"/>
          </a:xfrm>
          <a:prstGeom prst="rect">
            <a:avLst/>
          </a:prstGeom>
        </p:spPr>
      </p:pic>
      <p:sp>
        <p:nvSpPr>
          <p:cNvPr id="10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6057900" y="9532938"/>
            <a:ext cx="6172200" cy="54768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ctr">
              <a:defRPr sz="2000">
                <a:solidFill>
                  <a:schemeClr val="bg1">
                    <a:lumMod val="50000"/>
                  </a:schemeClr>
                </a:solidFill>
                <a:latin typeface="Rakuten Global R"/>
              </a:defRPr>
            </a:lvl1pPr>
          </a:lstStyle>
          <a:p>
            <a:endParaRPr lang="ja-JP" altLang="en-US" dirty="0"/>
          </a:p>
        </p:txBody>
      </p:sp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44830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8" y="9684000"/>
            <a:ext cx="2175120" cy="190800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701008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2891F1DC-C018-E048-A1D8-643D8D7528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7" y="9684000"/>
            <a:ext cx="2175120" cy="190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23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421645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312783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022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6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43868398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1750" y="9684838"/>
            <a:ext cx="2154225" cy="18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49715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1750" y="9684838"/>
            <a:ext cx="2154225" cy="18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81246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61248171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2891F1DC-C018-E048-A1D8-643D8D7528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9512" y="9686105"/>
            <a:ext cx="2154225" cy="18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0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8984093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89434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52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1131914" y="4038764"/>
            <a:ext cx="16024177" cy="23890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0176" tIns="40176" rIns="40176" bIns="40176" anchor="ctr">
            <a:spAutoFit/>
          </a:bodyPr>
          <a:lstStyle>
            <a:lvl1pPr>
              <a:defRPr sz="15000">
                <a:solidFill>
                  <a:srgbClr val="D21D00"/>
                </a:solidFill>
                <a:latin typeface="Rakuten Global B"/>
                <a:ea typeface="Rakuten Global B"/>
                <a:cs typeface="Rakuten Global B"/>
                <a:sym typeface="Rakuten Global B"/>
              </a:defRPr>
            </a:lvl1pPr>
          </a:lstStyle>
          <a:p>
            <a:r>
              <a:rPr sz="15000"/>
              <a:t>THANK YOU</a:t>
            </a:r>
          </a:p>
        </p:txBody>
      </p:sp>
      <p:pic>
        <p:nvPicPr>
          <p:cNvPr id="70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7013559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ver_r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11"/>
            <a:ext cx="18288001" cy="8761649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5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5200" y="9042966"/>
            <a:ext cx="3617600" cy="916319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>
            <a:spLocks noGrp="1"/>
          </p:cNvSpPr>
          <p:nvPr>
            <p:ph type="title" hasCustomPrompt="1"/>
          </p:nvPr>
        </p:nvSpPr>
        <p:spPr>
          <a:xfrm>
            <a:off x="3036079" y="2640507"/>
            <a:ext cx="12215842" cy="159773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07YasashisaGothicBold" charset="-128"/>
              </a:defRPr>
            </a:lvl1pPr>
          </a:lstStyle>
          <a:p>
            <a:r>
              <a:rPr lang="en-US" dirty="0"/>
              <a:t>R-Style 2017 </a:t>
            </a:r>
            <a:r>
              <a:rPr lang="en-US" dirty="0" err="1"/>
              <a:t>Template_Title</a:t>
            </a:r>
            <a:endParaRPr dirty="0"/>
          </a:p>
        </p:txBody>
      </p:sp>
      <p:sp>
        <p:nvSpPr>
          <p:cNvPr id="12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3036079" y="4886826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dirty="0"/>
              <a:t>Vol.01 Sep.01.2017</a:t>
            </a:r>
            <a:endParaRPr kumimoji="1" lang="en-US" altLang="ja-JP" dirty="0"/>
          </a:p>
          <a:p>
            <a:pPr marL="0" marR="0" lvl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Rakuten Taro </a:t>
            </a:r>
            <a:br>
              <a:rPr kumimoji="1" lang="en-US" altLang="ja-JP" dirty="0"/>
            </a:br>
            <a:r>
              <a:rPr kumimoji="1" lang="en-US" altLang="ja-JP" dirty="0" err="1"/>
              <a:t>xxxxx</a:t>
            </a:r>
            <a:r>
              <a:rPr kumimoji="1" lang="en-US" altLang="ja-JP" dirty="0"/>
              <a:t> Dept.</a:t>
            </a:r>
            <a:br>
              <a:rPr kumimoji="1" lang="en-US" altLang="ja-JP" dirty="0"/>
            </a:br>
            <a:r>
              <a:rPr kumimoji="1" lang="en-US" altLang="ja-JP" dirty="0"/>
              <a:t>Rakuten Inc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5024313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10" name="図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070456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32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76194040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44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4"/>
            <a:ext cx="1571625" cy="190500"/>
          </a:xfrm>
          <a:prstGeom prst="rect">
            <a:avLst/>
          </a:prstGeom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bg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sp>
        <p:nvSpPr>
          <p:cNvPr id="7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2956246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204902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7D3F71D-126C-FD49-9028-13F46FF612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658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2962433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1131914" y="4038764"/>
            <a:ext cx="16024177" cy="23890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0176" tIns="40176" rIns="40176" bIns="40176" anchor="ctr">
            <a:spAutoFit/>
          </a:bodyPr>
          <a:lstStyle>
            <a:lvl1pPr>
              <a:defRPr sz="15000">
                <a:solidFill>
                  <a:srgbClr val="D21D00"/>
                </a:solidFill>
                <a:latin typeface="Rakuten Global B"/>
                <a:ea typeface="Rakuten Global B"/>
                <a:cs typeface="Rakuten Global B"/>
                <a:sym typeface="Rakuten Global B"/>
              </a:defRPr>
            </a:lvl1pPr>
          </a:lstStyle>
          <a:p>
            <a:r>
              <a:rPr sz="15000"/>
              <a:t>THANK YOU</a:t>
            </a:r>
          </a:p>
        </p:txBody>
      </p:sp>
      <p:pic>
        <p:nvPicPr>
          <p:cNvPr id="70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10697603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9145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PlaceHolder 1"/>
          <p:cNvSpPr>
            <a:spLocks noGrp="1"/>
          </p:cNvSpPr>
          <p:nvPr>
            <p:ph type="title"/>
          </p:nvPr>
        </p:nvSpPr>
        <p:spPr>
          <a:xfrm>
            <a:off x="677880" y="482400"/>
            <a:ext cx="16961760" cy="8085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22" name="PlaceHolder 2"/>
          <p:cNvSpPr>
            <a:spLocks noGrp="1"/>
          </p:cNvSpPr>
          <p:nvPr>
            <p:ph type="body"/>
          </p:nvPr>
        </p:nvSpPr>
        <p:spPr>
          <a:xfrm>
            <a:off x="677880" y="1542960"/>
            <a:ext cx="16961760" cy="7740000"/>
          </a:xfrm>
          <a:prstGeom prst="rect">
            <a:avLst/>
          </a:prstGeom>
        </p:spPr>
        <p:txBody>
          <a:bodyPr lIns="0" tIns="0" rIns="0" bIns="0"/>
          <a:lstStyle/>
          <a:p>
            <a:endParaRPr lang="en-US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13265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7" y="3176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3176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cover_red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777" b="-1"/>
          <a:stretch/>
        </p:blipFill>
        <p:spPr>
          <a:xfrm>
            <a:off x="1" y="0"/>
            <a:ext cx="18288002" cy="431981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16"/>
          <p:cNvSpPr>
            <a:spLocks noGrp="1"/>
          </p:cNvSpPr>
          <p:nvPr>
            <p:ph type="title" hasCustomPrompt="1"/>
          </p:nvPr>
        </p:nvSpPr>
        <p:spPr>
          <a:xfrm>
            <a:off x="3036081" y="2640507"/>
            <a:ext cx="12215842" cy="159773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799" b="1" baseline="0">
                <a:solidFill>
                  <a:schemeClr val="bg1"/>
                </a:solidFill>
                <a:latin typeface="+mj-lt"/>
                <a:ea typeface="+mj-ea"/>
                <a:cs typeface="07YasashisaGothicBold" charset="-128"/>
              </a:defRPr>
            </a:lvl1pPr>
          </a:lstStyle>
          <a:p>
            <a:r>
              <a:rPr lang="en-US" dirty="0"/>
              <a:t>Section Divider</a:t>
            </a:r>
            <a:endParaRPr dirty="0"/>
          </a:p>
        </p:txBody>
      </p:sp>
      <p:pic>
        <p:nvPicPr>
          <p:cNvPr id="4" name="image5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0" y="9432001"/>
            <a:ext cx="2274032" cy="575999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図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98618" y="9684001"/>
            <a:ext cx="2175120" cy="190801"/>
          </a:xfrm>
          <a:prstGeom prst="rect">
            <a:avLst/>
          </a:prstGeom>
        </p:spPr>
      </p:pic>
      <p:sp>
        <p:nvSpPr>
          <p:cNvPr id="7" name="テキスト ボックス 10"/>
          <p:cNvSpPr txBox="1"/>
          <p:nvPr userDrawn="1"/>
        </p:nvSpPr>
        <p:spPr>
          <a:xfrm>
            <a:off x="16656179" y="9549818"/>
            <a:ext cx="1146598" cy="4520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algn="r" defTabSz="822423" fontAlgn="auto" hangingPunct="0">
              <a:spcBef>
                <a:spcPts val="0"/>
              </a:spcBef>
              <a:spcAft>
                <a:spcPts val="0"/>
              </a:spcAft>
            </a:pPr>
            <a:fld id="{86CB4B4D-7CA3-9044-876B-883B54F8677D}" type="slidenum">
              <a:rPr kumimoji="0" lang="en-US" altLang="ja-JP" sz="2000" b="1" kern="0" smtClean="0">
                <a:solidFill>
                  <a:srgbClr val="000000"/>
                </a:solidFill>
                <a:latin typeface="Arial"/>
                <a:sym typeface="ヒラギノ角ゴ ProN W3"/>
              </a:rPr>
              <a:pPr algn="r" defTabSz="822423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ja-JP" altLang="en-US" sz="2400" b="1" kern="0" dirty="0">
              <a:solidFill>
                <a:srgbClr val="000000"/>
              </a:solidFill>
              <a:latin typeface="Arial"/>
              <a:ea typeface="ヒラギノ角ゴ ProN W3"/>
              <a:cs typeface="ヒラギノ角ゴ ProN W3"/>
              <a:sym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82261446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3177" y="3176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3176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テキスト ボックス 10"/>
          <p:cNvSpPr txBox="1"/>
          <p:nvPr userDrawn="1"/>
        </p:nvSpPr>
        <p:spPr>
          <a:xfrm>
            <a:off x="16656179" y="9549818"/>
            <a:ext cx="1146598" cy="4520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algn="r" defTabSz="822423" fontAlgn="auto" hangingPunct="0">
              <a:spcBef>
                <a:spcPts val="0"/>
              </a:spcBef>
              <a:spcAft>
                <a:spcPts val="0"/>
              </a:spcAft>
            </a:pPr>
            <a:fld id="{86CB4B4D-7CA3-9044-876B-883B54F8677D}" type="slidenum">
              <a:rPr kumimoji="0" lang="en-US" altLang="ja-JP" sz="2000" b="1" kern="0" smtClean="0">
                <a:solidFill>
                  <a:srgbClr val="000000"/>
                </a:solidFill>
                <a:latin typeface="Arial"/>
                <a:sym typeface="ヒラギノ角ゴ ProN W3"/>
              </a:rPr>
              <a:pPr algn="r" defTabSz="822423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ja-JP" altLang="en-US" sz="2400" b="1" kern="0" dirty="0">
              <a:solidFill>
                <a:srgbClr val="000000"/>
              </a:solidFill>
              <a:latin typeface="Arial"/>
              <a:ea typeface="ヒラギノ角ゴ ProN W3"/>
              <a:cs typeface="ヒラギノ角ゴ ProN W3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0" y="9432001"/>
            <a:ext cx="2274032" cy="575999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図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98618" y="9684001"/>
            <a:ext cx="2175120" cy="190801"/>
          </a:xfrm>
          <a:prstGeom prst="rect">
            <a:avLst/>
          </a:prstGeom>
        </p:spPr>
      </p:pic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CE05352C-49C5-403C-921B-EAF1D1C74A81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677792" y="1399056"/>
            <a:ext cx="16964024" cy="1295800"/>
          </a:xfrm>
          <a:prstGeom prst="rect">
            <a:avLst/>
          </a:prstGeom>
        </p:spPr>
        <p:txBody>
          <a:bodyPr t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ja-JP" altLang="en-US" sz="3599" baseline="0" dirty="0"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</a:lstStyle>
          <a:p>
            <a:pPr lvl="0">
              <a:lnSpc>
                <a:spcPct val="120000"/>
              </a:lnSpc>
              <a:spcAft>
                <a:spcPts val="1200"/>
              </a:spcAft>
            </a:pPr>
            <a:r>
              <a:rPr kumimoji="1" lang="en-US" altLang="ja-JP" dirty="0"/>
              <a:t>Message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79C672D-6F32-404B-8C3E-4F90F79BE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4435" y="9898353"/>
            <a:ext cx="16659134" cy="3832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0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</a:lstStyle>
          <a:p>
            <a:r>
              <a:rPr lang="en-US" dirty="0"/>
              <a:t>Source: Customer Strategy Supervisory Dept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2437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0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95247" tIns="95247" rIns="95247" bIns="95247" anchor="ctr"/>
          <a:lstStyle/>
          <a:p>
            <a:pPr defTabSz="1601977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3" y="2835376"/>
            <a:ext cx="9803569" cy="21681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3" y="5334111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331388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7D3F71D-126C-FD49-9028-13F46FF612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8" y="9684000"/>
            <a:ext cx="2175120" cy="1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1436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D100D2D-8F81-C042-A38F-A400330F2F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404480E4-B7CB-DF41-9A5B-A9E024ED7F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8" y="9684000"/>
            <a:ext cx="2175120" cy="1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3727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4F26A1B-052C-934C-8243-5CF21F7E89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2891F1DC-C018-E048-A1D8-643D8D7528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7" y="9684000"/>
            <a:ext cx="2175120" cy="1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683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D100D2D-8F81-C042-A38F-A400330F2F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705433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7767363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646956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996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図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8" y="9684000"/>
            <a:ext cx="2175120" cy="1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551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0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95247" tIns="95247" rIns="95247" bIns="95247" anchor="ctr"/>
          <a:lstStyle/>
          <a:p>
            <a:pPr defTabSz="1601977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3" y="2835376"/>
            <a:ext cx="9803569" cy="21681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3" y="5334111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7488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7D3F71D-126C-FD49-9028-13F46FF612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6250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D100D2D-8F81-C042-A38F-A400330F2F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68019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4F26A1B-052C-934C-8243-5CF21F7E89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4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340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9108941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21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4F26A1B-052C-934C-8243-5CF21F7E89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4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20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310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1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71425" tIns="71425" rIns="71425" bIns="71425" anchor="ctr"/>
          <a:lstStyle/>
          <a:p>
            <a:pPr defTabSz="1201323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 sz="2700"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5" y="2835377"/>
            <a:ext cx="9803570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6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5" y="5334111"/>
            <a:ext cx="6254918" cy="2387734"/>
          </a:xfrm>
          <a:prstGeom prst="rect">
            <a:avLst/>
          </a:prstGeom>
        </p:spPr>
        <p:txBody>
          <a:bodyPr/>
          <a:lstStyle>
            <a:lvl1pPr marL="0" marR="0" indent="0" algn="l" defTabSz="3469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25523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617868"/>
            <a:ext cx="1146598" cy="315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3569" tIns="53569" rIns="53569" bIns="53569" numCol="1" spcCol="38100" rtlCol="0" anchor="ctr">
            <a:spAutoFit/>
          </a:bodyPr>
          <a:lstStyle/>
          <a:p>
            <a:pPr marL="0" marR="0" indent="0" algn="r" defTabSz="6168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350" b="1" smtClean="0">
                <a:latin typeface="+mn-lt"/>
              </a:rPr>
              <a:pPr marL="0" marR="0" indent="0" algn="r" defTabSz="61682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35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3" y="1543050"/>
            <a:ext cx="169625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900"/>
              </a:spcAft>
              <a:defRPr sz="2100" baseline="0">
                <a:latin typeface="+mn-lt"/>
                <a:ea typeface="+mn-ea"/>
              </a:defRPr>
            </a:lvl1pPr>
            <a:lvl2pPr marL="404946" indent="-269964">
              <a:lnSpc>
                <a:spcPct val="100000"/>
              </a:lnSpc>
              <a:spcAft>
                <a:spcPts val="900"/>
              </a:spcAft>
              <a:defRPr sz="1800" baseline="0">
                <a:latin typeface="+mn-ea"/>
                <a:ea typeface="+mn-ea"/>
              </a:defRPr>
            </a:lvl2pPr>
            <a:lvl3pPr marL="809892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3pPr>
            <a:lvl4pPr marL="1214838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4pPr>
            <a:lvl5pPr marL="1619784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5pPr>
            <a:lvl6pPr marL="2024730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6pPr>
            <a:lvl7pPr marL="2429676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7pPr>
            <a:lvl8pPr marL="2834622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8pPr>
            <a:lvl9pPr marL="3239568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7D3F71D-126C-FD49-9028-13F46FF612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1"/>
            <a:ext cx="432000" cy="431999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5" y="9683308"/>
            <a:ext cx="1571626" cy="19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5364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3" y="482452"/>
            <a:ext cx="16962510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617868"/>
            <a:ext cx="1146598" cy="315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3569" tIns="53569" rIns="53569" bIns="53569" numCol="1" spcCol="38100" rtlCol="0" anchor="ctr">
            <a:spAutoFit/>
          </a:bodyPr>
          <a:lstStyle/>
          <a:p>
            <a:pPr marL="0" marR="0" indent="0" algn="r" defTabSz="6168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350" b="1" smtClean="0">
                <a:latin typeface="+mn-lt"/>
              </a:rPr>
              <a:pPr marL="0" marR="0" indent="0" algn="r" defTabSz="61682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35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3" y="1543050"/>
            <a:ext cx="169625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900"/>
              </a:spcAft>
              <a:defRPr sz="2100" baseline="0">
                <a:latin typeface="+mn-lt"/>
                <a:ea typeface="+mn-ea"/>
              </a:defRPr>
            </a:lvl1pPr>
            <a:lvl2pPr marL="404946" indent="-269964">
              <a:lnSpc>
                <a:spcPct val="100000"/>
              </a:lnSpc>
              <a:spcAft>
                <a:spcPts val="900"/>
              </a:spcAft>
              <a:defRPr sz="1800" baseline="0">
                <a:latin typeface="+mn-ea"/>
                <a:ea typeface="+mn-ea"/>
              </a:defRPr>
            </a:lvl2pPr>
            <a:lvl3pPr marL="809892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3pPr>
            <a:lvl4pPr marL="1214838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4pPr>
            <a:lvl5pPr marL="1619784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5pPr>
            <a:lvl6pPr marL="2024730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6pPr>
            <a:lvl7pPr marL="2429676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7pPr>
            <a:lvl8pPr marL="2834622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8pPr>
            <a:lvl9pPr marL="3239568" indent="-269964">
              <a:lnSpc>
                <a:spcPct val="100000"/>
              </a:lnSpc>
              <a:spcAft>
                <a:spcPts val="900"/>
              </a:spcAft>
              <a:defRPr sz="18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D100D2D-8F81-C042-A38F-A400330F2F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1"/>
            <a:ext cx="432000" cy="431999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5" y="9683308"/>
            <a:ext cx="1571626" cy="19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650994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3" y="482452"/>
            <a:ext cx="16962510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617868"/>
            <a:ext cx="1146598" cy="315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3569" tIns="53569" rIns="53569" bIns="53569" numCol="1" spcCol="38100" rtlCol="0" anchor="ctr">
            <a:spAutoFit/>
          </a:bodyPr>
          <a:lstStyle/>
          <a:p>
            <a:pPr marL="0" marR="0" indent="0" algn="r" defTabSz="61682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350" b="1" smtClean="0">
                <a:solidFill>
                  <a:schemeClr val="tx1"/>
                </a:solidFill>
                <a:latin typeface="+mn-lt"/>
              </a:rPr>
              <a:pPr marL="0" marR="0" indent="0" algn="r" defTabSz="61682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35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3" y="1543050"/>
            <a:ext cx="169625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900"/>
              </a:spcAft>
              <a:defRPr sz="21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404946" indent="-269964">
              <a:lnSpc>
                <a:spcPct val="100000"/>
              </a:lnSpc>
              <a:spcAft>
                <a:spcPts val="900"/>
              </a:spcAft>
              <a:defRPr sz="18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809892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3pPr>
            <a:lvl4pPr marL="1214838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4pPr>
            <a:lvl5pPr marL="1619784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5pPr>
            <a:lvl6pPr marL="2024730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6pPr>
            <a:lvl7pPr marL="2429676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7pPr>
            <a:lvl8pPr marL="2834622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8pPr>
            <a:lvl9pPr marL="3239568" indent="-269964">
              <a:lnSpc>
                <a:spcPct val="100000"/>
              </a:lnSpc>
              <a:spcAft>
                <a:spcPts val="900"/>
              </a:spcAft>
              <a:defRPr sz="18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4F26A1B-052C-934C-8243-5CF21F7E89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8000" y="9540001"/>
            <a:ext cx="432000" cy="431999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76583"/>
            <a:ext cx="1571626" cy="19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946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8000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378186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694612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2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814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形">
            <a:extLst>
              <a:ext uri="{FF2B5EF4-FFF2-40B4-BE49-F238E27FC236}">
                <a16:creationId xmlns:a16="http://schemas.microsoft.com/office/drawing/2014/main" id="{7046870E-E530-404C-BD2E-BCCF7F881C21}"/>
              </a:ext>
            </a:extLst>
          </p:cNvPr>
          <p:cNvSpPr/>
          <p:nvPr userDrawn="1"/>
        </p:nvSpPr>
        <p:spPr>
          <a:xfrm>
            <a:off x="0" y="0"/>
            <a:ext cx="18288000" cy="10289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622"/>
                </a:lnTo>
                <a:cubicBezTo>
                  <a:pt x="3356" y="15189"/>
                  <a:pt x="7238" y="19182"/>
                  <a:pt x="1135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95247" tIns="95247" rIns="95247" bIns="95247" anchor="ctr"/>
          <a:lstStyle/>
          <a:p>
            <a:pPr defTabSz="1601977">
              <a:defRPr sz="3600">
                <a:latin typeface="Rakuten Global R"/>
                <a:ea typeface="Rakuten Global R"/>
                <a:cs typeface="Rakuten Global R"/>
                <a:sym typeface="Rakuten Global R"/>
              </a:defRPr>
            </a:pPr>
            <a:endParaRPr/>
          </a:p>
        </p:txBody>
      </p:sp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6879463" y="2835376"/>
            <a:ext cx="9803569" cy="21681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2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6879463" y="5334111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Jul 2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D1924A4E-C166-B947-BDD2-E17C91B57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9040" y="9064493"/>
            <a:ext cx="2520000" cy="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567197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7D3F71D-126C-FD49-9028-13F46FF61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0501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92554598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9D100D2D-8F81-C042-A38F-A400330F2F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614487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1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40000" indent="-36000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6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70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4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8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20000" indent="-36000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4F26A1B-052C-934C-8243-5CF21F7E89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00" y="9540000"/>
            <a:ext cx="432000" cy="43200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2" y="9676584"/>
            <a:ext cx="15716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31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825721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22079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09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6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63412863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0571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6831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900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9888961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18A87AD-9008-2A46-82EB-133D13185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565116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376942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9428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ver_r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12"/>
            <a:ext cx="18288002" cy="87616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5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5202" y="9042966"/>
            <a:ext cx="3617600" cy="91632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>
            <a:spLocks noGrp="1"/>
          </p:cNvSpPr>
          <p:nvPr>
            <p:ph type="title" hasCustomPrompt="1"/>
          </p:nvPr>
        </p:nvSpPr>
        <p:spPr>
          <a:xfrm>
            <a:off x="3036080" y="2640508"/>
            <a:ext cx="12215843" cy="159773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799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lang="en-US" dirty="0"/>
              <a:t>R-Style 2017 </a:t>
            </a:r>
            <a:r>
              <a:rPr lang="en-US" dirty="0" err="1"/>
              <a:t>Template_Title</a:t>
            </a:r>
            <a:endParaRPr dirty="0"/>
          </a:p>
        </p:txBody>
      </p:sp>
      <p:sp>
        <p:nvSpPr>
          <p:cNvPr id="12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3036080" y="4886826"/>
            <a:ext cx="6254918" cy="2387734"/>
          </a:xfrm>
          <a:prstGeom prst="rect">
            <a:avLst/>
          </a:prstGeom>
        </p:spPr>
        <p:txBody>
          <a:bodyPr/>
          <a:lstStyle>
            <a:lvl1pPr marL="0" marR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dirty="0"/>
              <a:t>Vol.01 Sep.01.2017</a:t>
            </a:r>
            <a:endParaRPr kumimoji="1" lang="en-US" altLang="ja-JP" dirty="0"/>
          </a:p>
          <a:p>
            <a:pPr marL="0" marR="0" lvl="0" indent="0" algn="l" defTabSz="4625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Rakuten Taro </a:t>
            </a:r>
            <a:br>
              <a:rPr kumimoji="1" lang="en-US" altLang="ja-JP" dirty="0"/>
            </a:br>
            <a:r>
              <a:rPr kumimoji="1" lang="en-US" altLang="ja-JP" dirty="0" err="1"/>
              <a:t>xxxxx</a:t>
            </a:r>
            <a:r>
              <a:rPr kumimoji="1" lang="en-US" altLang="ja-JP" dirty="0"/>
              <a:t> Dept.</a:t>
            </a:r>
            <a:br>
              <a:rPr kumimoji="1" lang="en-US" altLang="ja-JP" dirty="0"/>
            </a:br>
            <a:r>
              <a:rPr kumimoji="1" lang="en-US" altLang="ja-JP" dirty="0"/>
              <a:t>Rakuten Inc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62902558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9" y="9684000"/>
            <a:ext cx="2175120" cy="19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693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677792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32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9" y="9684000"/>
            <a:ext cx="2175120" cy="19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245570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677792" y="482452"/>
            <a:ext cx="16962509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44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1" y="9432000"/>
            <a:ext cx="2274032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bg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677792" y="1543050"/>
            <a:ext cx="16962509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bg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8617" y="9684000"/>
            <a:ext cx="2175120" cy="19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096670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87999" cy="102854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6578194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image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65928914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rgbClr val="B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1131916" y="4038651"/>
            <a:ext cx="16024178" cy="2389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0170" tIns="40170" rIns="40170" bIns="40170" anchor="ctr">
            <a:spAutoFit/>
          </a:bodyPr>
          <a:lstStyle>
            <a:lvl1pPr>
              <a:defRPr sz="15000">
                <a:solidFill>
                  <a:srgbClr val="D21D00"/>
                </a:solidFill>
                <a:latin typeface="Rakuten Global B"/>
                <a:ea typeface="Rakuten Global B"/>
                <a:cs typeface="Rakuten Global B"/>
                <a:sym typeface="Rakuten Global B"/>
              </a:defRPr>
            </a:lvl1pPr>
          </a:lstStyle>
          <a:p>
            <a:pPr algn="ctr"/>
            <a:r>
              <a:rPr sz="14999" dirty="0"/>
              <a:t>THANK YOU</a:t>
            </a:r>
          </a:p>
        </p:txBody>
      </p:sp>
      <p:pic>
        <p:nvPicPr>
          <p:cNvPr id="70" name="corporatelogo_w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4000" y="4507805"/>
            <a:ext cx="5040000" cy="127660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00250632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914400" y="9533054"/>
            <a:ext cx="4267200" cy="54760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6248400" y="9533054"/>
            <a:ext cx="5791200" cy="54760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3661777" y="9462520"/>
            <a:ext cx="4267200" cy="547605"/>
          </a:xfrm>
          <a:prstGeom prst="rect">
            <a:avLst/>
          </a:prstGeom>
        </p:spPr>
        <p:txBody>
          <a:bodyPr/>
          <a:lstStyle>
            <a:lvl1pPr algn="r"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90142C-BBCC-42ED-841D-E795FB8A7B9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9478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94209BAA-9506-4F46-9328-2D8DE665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4000" y="4572000"/>
            <a:ext cx="3600000" cy="106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414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700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3084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sz="24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83758090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635411"/>
            <a:ext cx="1146597" cy="2808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7624" tIns="47624" rIns="47624" bIns="47624" numCol="1" spcCol="38100" rtlCol="0" anchor="ctr">
            <a:spAutoFit/>
          </a:bodyPr>
          <a:lstStyle/>
          <a:p>
            <a:pPr marL="0" marR="0" indent="0" algn="r" defTabSz="5483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200" b="1" smtClean="0">
                <a:latin typeface="+mn-lt"/>
              </a:rPr>
              <a:pPr marL="0" marR="0" indent="0" algn="r" defTabSz="548391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800"/>
              </a:spcAft>
              <a:defRPr sz="1867" baseline="0">
                <a:latin typeface="+mn-lt"/>
                <a:ea typeface="+mn-ea"/>
              </a:defRPr>
            </a:lvl1pPr>
            <a:lvl2pPr marL="360018" indent="-240012">
              <a:lnSpc>
                <a:spcPct val="100000"/>
              </a:lnSpc>
              <a:spcAft>
                <a:spcPts val="800"/>
              </a:spcAft>
              <a:defRPr sz="1600" baseline="0">
                <a:latin typeface="+mn-ea"/>
                <a:ea typeface="+mn-ea"/>
              </a:defRPr>
            </a:lvl2pPr>
            <a:lvl3pPr marL="720036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3pPr>
            <a:lvl4pPr marL="1080054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4pPr>
            <a:lvl5pPr marL="1440072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5pPr>
            <a:lvl6pPr marL="1800090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6pPr>
            <a:lvl7pPr marL="2160108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7pPr>
            <a:lvl8pPr marL="2520126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8pPr>
            <a:lvl9pPr marL="2880144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9735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56" b="20963"/>
          <a:stretch/>
        </p:blipFill>
        <p:spPr>
          <a:xfrm>
            <a:off x="0" y="-19050"/>
            <a:ext cx="18288000" cy="1031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8893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635411"/>
            <a:ext cx="1146597" cy="2808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7624" tIns="47624" rIns="47624" bIns="47624" numCol="1" spcCol="38100" rtlCol="0" anchor="ctr">
            <a:spAutoFit/>
          </a:bodyPr>
          <a:lstStyle/>
          <a:p>
            <a:pPr marL="0" marR="0" indent="0" algn="r" defTabSz="5483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200" b="1" smtClean="0">
                <a:latin typeface="+mn-lt"/>
              </a:rPr>
              <a:pPr marL="0" marR="0" indent="0" algn="r" defTabSz="548391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800"/>
              </a:spcAft>
              <a:defRPr sz="1867" baseline="0">
                <a:latin typeface="+mn-lt"/>
                <a:ea typeface="+mn-ea"/>
              </a:defRPr>
            </a:lvl1pPr>
            <a:lvl2pPr marL="360018" indent="-240012">
              <a:lnSpc>
                <a:spcPct val="100000"/>
              </a:lnSpc>
              <a:spcAft>
                <a:spcPts val="800"/>
              </a:spcAft>
              <a:defRPr sz="1600" baseline="0">
                <a:latin typeface="+mn-ea"/>
                <a:ea typeface="+mn-ea"/>
              </a:defRPr>
            </a:lvl2pPr>
            <a:lvl3pPr marL="720036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3pPr>
            <a:lvl4pPr marL="1080054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4pPr>
            <a:lvl5pPr marL="1440072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5pPr>
            <a:lvl6pPr marL="1800090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6pPr>
            <a:lvl7pPr marL="2160108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7pPr>
            <a:lvl8pPr marL="2520126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8pPr>
            <a:lvl9pPr marL="2880144" indent="-240012">
              <a:lnSpc>
                <a:spcPct val="100000"/>
              </a:lnSpc>
              <a:spcAft>
                <a:spcPts val="800"/>
              </a:spcAft>
              <a:defRPr sz="16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472129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635411"/>
            <a:ext cx="1146597" cy="2808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7624" tIns="47624" rIns="47624" bIns="47624" numCol="1" spcCol="38100" rtlCol="0" anchor="ctr">
            <a:spAutoFit/>
          </a:bodyPr>
          <a:lstStyle/>
          <a:p>
            <a:pPr marL="0" marR="0" indent="0" algn="r" defTabSz="5483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200" b="1" smtClean="0">
                <a:solidFill>
                  <a:schemeClr val="tx1"/>
                </a:solidFill>
                <a:latin typeface="+mn-lt"/>
              </a:rPr>
              <a:pPr marL="0" marR="0" indent="0" algn="r" defTabSz="548391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2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800"/>
              </a:spcAft>
              <a:defRPr sz="1867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360018" indent="-240012">
              <a:lnSpc>
                <a:spcPct val="100000"/>
              </a:lnSpc>
              <a:spcAft>
                <a:spcPts val="800"/>
              </a:spcAft>
              <a:defRPr sz="16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720036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3pPr>
            <a:lvl4pPr marL="1080054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4pPr>
            <a:lvl5pPr marL="1440072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5pPr>
            <a:lvl6pPr marL="1800090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6pPr>
            <a:lvl7pPr marL="2160108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7pPr>
            <a:lvl8pPr marL="2520126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8pPr>
            <a:lvl9pPr marL="2880144" indent="-240012">
              <a:lnSpc>
                <a:spcPct val="100000"/>
              </a:lnSpc>
              <a:spcAft>
                <a:spcPts val="800"/>
              </a:spcAft>
              <a:defRPr sz="16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851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59571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895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6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96819424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8393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46953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ver_r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11"/>
            <a:ext cx="18288001" cy="8761649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5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5200" y="9042966"/>
            <a:ext cx="3617600" cy="916319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>
            <a:spLocks noGrp="1"/>
          </p:cNvSpPr>
          <p:nvPr>
            <p:ph type="title" hasCustomPrompt="1"/>
          </p:nvPr>
        </p:nvSpPr>
        <p:spPr>
          <a:xfrm>
            <a:off x="3036079" y="2640507"/>
            <a:ext cx="12215842" cy="159773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0" b="1" baseline="0">
                <a:solidFill>
                  <a:srgbClr val="FFFFFF"/>
                </a:solidFill>
                <a:latin typeface="+mj-lt"/>
                <a:ea typeface="+mj-ea"/>
                <a:cs typeface="07YasashisaGothicBold" charset="-128"/>
              </a:defRPr>
            </a:lvl1pPr>
          </a:lstStyle>
          <a:p>
            <a:r>
              <a:rPr lang="en-US" dirty="0"/>
              <a:t>R-Style 2017 </a:t>
            </a:r>
            <a:r>
              <a:rPr lang="en-US" dirty="0" err="1"/>
              <a:t>Template_Title</a:t>
            </a:r>
            <a:endParaRPr dirty="0"/>
          </a:p>
        </p:txBody>
      </p:sp>
      <p:sp>
        <p:nvSpPr>
          <p:cNvPr id="12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3036079" y="4886826"/>
            <a:ext cx="6254917" cy="2387733"/>
          </a:xfrm>
          <a:prstGeom prst="rect">
            <a:avLst/>
          </a:prstGeom>
        </p:spPr>
        <p:txBody>
          <a:bodyPr/>
          <a:lstStyle>
            <a:lvl1pPr marL="0" marR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marL="0" marR="0" lvl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dirty="0"/>
              <a:t>Vol.01 Sep.01.2017</a:t>
            </a:r>
            <a:endParaRPr kumimoji="1" lang="en-US" altLang="ja-JP" dirty="0"/>
          </a:p>
          <a:p>
            <a:pPr marL="0" marR="0" lvl="0" indent="0" algn="l" defTabSz="4626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Rakuten Taro </a:t>
            </a:r>
            <a:br>
              <a:rPr kumimoji="1" lang="en-US" altLang="ja-JP" dirty="0"/>
            </a:br>
            <a:r>
              <a:rPr kumimoji="1" lang="en-US" altLang="ja-JP" dirty="0" err="1"/>
              <a:t>xxxxx</a:t>
            </a:r>
            <a:r>
              <a:rPr kumimoji="1" lang="en-US" altLang="ja-JP" dirty="0"/>
              <a:t> Dept.</a:t>
            </a:r>
            <a:br>
              <a:rPr kumimoji="1" lang="en-US" altLang="ja-JP" dirty="0"/>
            </a:br>
            <a:r>
              <a:rPr kumimoji="1" lang="en-US" altLang="ja-JP" dirty="0"/>
              <a:t>Rakuten Inc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8256916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035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00309301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188143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4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6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46946408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28937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34262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876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33386083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91363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pic>
        <p:nvPicPr>
          <p:cNvPr id="10" name="図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3" y="9683308"/>
            <a:ext cx="1571625" cy="190500"/>
          </a:xfrm>
          <a:prstGeom prst="rect">
            <a:avLst/>
          </a:prstGeom>
        </p:spPr>
      </p:pic>
      <p:sp>
        <p:nvSpPr>
          <p:cNvPr id="11" name="テキスト ボックス 10"/>
          <p:cNvSpPr txBox="1"/>
          <p:nvPr userDrawn="1"/>
        </p:nvSpPr>
        <p:spPr>
          <a:xfrm>
            <a:off x="16656178" y="9565200"/>
            <a:ext cx="1146597" cy="421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marL="0" marR="0" indent="0" algn="r" defTabSz="8225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546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ヒラギノ角ゴ ProN W3"/>
              <a:cs typeface="ヒラギノ角ゴ ProN W3"/>
              <a:sym typeface="ヒラギノ角ゴ ProN W3"/>
            </a:endParaRPr>
          </a:p>
        </p:txBody>
      </p:sp>
      <p:pic>
        <p:nvPicPr>
          <p:cNvPr id="7" name="image5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000" y="9432000"/>
            <a:ext cx="2274031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677791" y="1543050"/>
            <a:ext cx="16962509" cy="7740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2pPr>
            <a:lvl3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0" indent="0">
              <a:lnSpc>
                <a:spcPct val="12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2337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1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0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54167038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="0" i="0" baseline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7497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6" y="1543050"/>
            <a:ext cx="17283111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2591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g_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/>
          </p:cNvSpPr>
          <p:nvPr>
            <p:ph type="title" hasCustomPrompt="1"/>
          </p:nvPr>
        </p:nvSpPr>
        <p:spPr>
          <a:xfrm>
            <a:off x="502445" y="482452"/>
            <a:ext cx="17283113" cy="8093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</a:defRPr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2" name="テキスト ボックス 11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solidFill>
                  <a:schemeClr val="tx1"/>
                </a:solidFill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6" name="コンテンツ プレースホルダー 2"/>
          <p:cNvSpPr>
            <a:spLocks noGrp="1"/>
          </p:cNvSpPr>
          <p:nvPr>
            <p:ph sz="quarter" idx="10" hasCustomPrompt="1"/>
          </p:nvPr>
        </p:nvSpPr>
        <p:spPr>
          <a:xfrm>
            <a:off x="502445" y="1543050"/>
            <a:ext cx="1730033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solidFill>
                  <a:schemeClr val="bg1"/>
                </a:solidFill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solidFill>
                  <a:schemeClr val="bg1"/>
                </a:solidFill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2112" y="9676583"/>
            <a:ext cx="1571625" cy="1905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F82B00-2742-9246-93A9-69359E0EAF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46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full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pic" idx="13" hasCustomPrompt="1"/>
          </p:nvPr>
        </p:nvSpPr>
        <p:spPr>
          <a:xfrm>
            <a:off x="2" y="0"/>
            <a:ext cx="18290381" cy="10285413"/>
          </a:xfrm>
          <a:prstGeom prst="rect">
            <a:avLst/>
          </a:prstGeom>
        </p:spPr>
        <p:txBody>
          <a:bodyPr lIns="91439" tIns="45719" rIns="91439" bIns="45719" anchor="ctr">
            <a:noAutofit/>
          </a:bodyPr>
          <a:lstStyle>
            <a:lvl1pPr algn="ctr">
              <a:defRPr b="1"/>
            </a:lvl1pPr>
          </a:lstStyle>
          <a:p>
            <a:r>
              <a:rPr lang="en-US" altLang="ja-JP" dirty="0"/>
              <a:t>Click icon to add full imag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0424728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753608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ack-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90AA9F3-25D2-9D4A-8350-BF8D3E2B0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9191" y="4265255"/>
            <a:ext cx="4572000" cy="16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336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-1"/>
            <a:ext cx="18288000" cy="84766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199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97C0AEEE-698E-F348-89FD-E33AED85B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2445" y="8756586"/>
            <a:ext cx="3534543" cy="1295800"/>
          </a:xfrm>
          <a:prstGeom prst="rect">
            <a:avLst/>
          </a:prstGeom>
        </p:spPr>
      </p:pic>
      <p:sp>
        <p:nvSpPr>
          <p:cNvPr id="7" name="Shape 16"/>
          <p:cNvSpPr>
            <a:spLocks noGrp="1"/>
          </p:cNvSpPr>
          <p:nvPr>
            <p:ph type="title" hasCustomPrompt="1"/>
          </p:nvPr>
        </p:nvSpPr>
        <p:spPr>
          <a:xfrm>
            <a:off x="1619999" y="2047559"/>
            <a:ext cx="15078686" cy="21681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801" b="1" baseline="0">
                <a:solidFill>
                  <a:srgbClr val="FFFFFF"/>
                </a:solidFill>
                <a:latin typeface="+mj-lt"/>
                <a:ea typeface="+mj-ea"/>
                <a:cs typeface="メイリオ" panose="020B0604030504040204" pitchFamily="50" charset="-128"/>
              </a:defRPr>
            </a:lvl1pPr>
          </a:lstStyle>
          <a:p>
            <a:r>
              <a:rPr kumimoji="1" lang="en-US" altLang="ja-JP" dirty="0"/>
              <a:t>R-Style template</a:t>
            </a:r>
            <a:r>
              <a:rPr lang="en-US" altLang="ja-JP" dirty="0"/>
              <a:t> v3.0</a:t>
            </a:r>
            <a:endParaRPr dirty="0"/>
          </a:p>
        </p:txBody>
      </p:sp>
      <p:sp>
        <p:nvSpPr>
          <p:cNvPr id="8" name="コンテンツ プレースホルダー 4"/>
          <p:cNvSpPr>
            <a:spLocks noGrp="1"/>
          </p:cNvSpPr>
          <p:nvPr>
            <p:ph sz="quarter" idx="12" hasCustomPrompt="1"/>
          </p:nvPr>
        </p:nvSpPr>
        <p:spPr>
          <a:xfrm>
            <a:off x="1620000" y="4660576"/>
            <a:ext cx="6255732" cy="2387734"/>
          </a:xfrm>
          <a:prstGeom prst="rect">
            <a:avLst/>
          </a:prstGeom>
        </p:spPr>
        <p:txBody>
          <a:bodyPr/>
          <a:lstStyle>
            <a:lvl1pPr marL="0" marR="0" indent="0" algn="l" defTabSz="4626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000" b="1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altLang="ja-JP" dirty="0"/>
              <a:t>Oct 1, 2018</a:t>
            </a:r>
            <a:br>
              <a:rPr lang="en-US" altLang="ja-JP" dirty="0"/>
            </a:br>
            <a:r>
              <a:rPr lang="en-US" altLang="ja-JP" dirty="0"/>
              <a:t>Rakuten Taro</a:t>
            </a:r>
            <a:br>
              <a:rPr lang="en-US" altLang="ja-JP" dirty="0"/>
            </a:br>
            <a:r>
              <a:rPr lang="en-US" altLang="ja-JP" dirty="0" err="1"/>
              <a:t>xxxxx</a:t>
            </a:r>
            <a:r>
              <a:rPr lang="en-US" altLang="ja-JP" dirty="0"/>
              <a:t> Dept.</a:t>
            </a:r>
            <a:br>
              <a:rPr lang="en-US" altLang="ja-JP" dirty="0"/>
            </a:br>
            <a:r>
              <a:rPr lang="en-US" altLang="ja-JP" dirty="0"/>
              <a:t>Rakuten, Inc.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1547090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lick to add title</a:t>
            </a:r>
            <a:endParaRPr dirty="0"/>
          </a:p>
        </p:txBody>
      </p:sp>
      <p:sp>
        <p:nvSpPr>
          <p:cNvPr id="11" name="テキスト ボックス 10"/>
          <p:cNvSpPr txBox="1"/>
          <p:nvPr userDrawn="1"/>
        </p:nvSpPr>
        <p:spPr>
          <a:xfrm>
            <a:off x="16656179" y="9565213"/>
            <a:ext cx="1146597" cy="4212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25" tIns="71425" rIns="71425" bIns="71425" numCol="1" spcCol="38100" rtlCol="0" anchor="ctr">
            <a:spAutoFit/>
          </a:bodyPr>
          <a:lstStyle/>
          <a:p>
            <a:pPr marL="0" marR="0" indent="0" algn="r" defTabSz="82247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86CB4B4D-7CA3-9044-876B-883B54F8677D}" type="slidenum">
              <a:rPr lang="en-US" altLang="ja-JP" sz="1800" b="1" smtClean="0">
                <a:latin typeface="+mn-lt"/>
              </a:rPr>
              <a:pPr marL="0" marR="0" indent="0" algn="r" defTabSz="82247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ja-JP" alt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メイリオ" panose="020B0604030504040204" pitchFamily="50" charset="-128"/>
              <a:cs typeface="メイリオ" panose="020B0604030504040204" pitchFamily="50" charset="-128"/>
              <a:sym typeface="ヒラギノ角ゴ ProN W3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 userDrawn="1">
            <p:ph sz="quarter" idx="10" hasCustomPrompt="1"/>
          </p:nvPr>
        </p:nvSpPr>
        <p:spPr>
          <a:xfrm>
            <a:off x="502448" y="1543050"/>
            <a:ext cx="17283110" cy="7740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1200"/>
              </a:spcAft>
              <a:defRPr sz="2800" baseline="0">
                <a:latin typeface="+mn-lt"/>
                <a:ea typeface="+mn-ea"/>
              </a:defRPr>
            </a:lvl1pPr>
            <a:lvl2pPr marL="539955" indent="-359970">
              <a:lnSpc>
                <a:spcPct val="100000"/>
              </a:lnSpc>
              <a:spcAft>
                <a:spcPts val="1200"/>
              </a:spcAft>
              <a:defRPr sz="2400" baseline="0">
                <a:latin typeface="+mn-ea"/>
                <a:ea typeface="+mn-ea"/>
              </a:defRPr>
            </a:lvl2pPr>
            <a:lvl3pPr marL="107991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3pPr>
            <a:lvl4pPr marL="161986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4pPr>
            <a:lvl5pPr marL="215982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5pPr>
            <a:lvl6pPr marL="269977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6pPr>
            <a:lvl7pPr marL="323973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7pPr>
            <a:lvl8pPr marL="3779685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8pPr>
            <a:lvl9pPr marL="4319640" indent="-359970">
              <a:lnSpc>
                <a:spcPct val="100000"/>
              </a:lnSpc>
              <a:spcAft>
                <a:spcPts val="1200"/>
              </a:spcAft>
              <a:defRPr sz="2400">
                <a:latin typeface="+mn-ea"/>
                <a:ea typeface="+mn-ea"/>
              </a:defRPr>
            </a:lvl9pPr>
          </a:lstStyle>
          <a:p>
            <a:pPr lvl="0"/>
            <a:r>
              <a:rPr kumimoji="1" lang="en-US" altLang="ja-JP" dirty="0"/>
              <a:t>Click to add object</a:t>
            </a:r>
            <a:endParaRPr kumimoji="1" lang="ja-JP" altLang="en-US" dirty="0"/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146" y="9683308"/>
            <a:ext cx="1571829" cy="190501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43714FD7-6AD5-1B4C-95BA-BB0FB7D2AE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445" y="9553016"/>
            <a:ext cx="540000" cy="53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9204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image" Target="../media/image10.emf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0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2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 userDrawn="1">
          <p15:clr>
            <a:srgbClr val="F26B43"/>
          </p15:clr>
        </p15:guide>
        <p15:guide id="2" pos="408" userDrawn="1">
          <p15:clr>
            <a:srgbClr val="F26B43"/>
          </p15:clr>
        </p15:guide>
        <p15:guide id="3" pos="11112" userDrawn="1">
          <p15:clr>
            <a:srgbClr val="F26B43"/>
          </p15:clr>
        </p15:guide>
        <p15:guide id="4" orient="horz" pos="584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8091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</p:sldLayoutIdLst>
  <p:transition spd="med"/>
  <p:hf hdr="0" ftr="0" dt="0"/>
  <p:txStyles>
    <p:titleStyle>
      <a:lvl1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464374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631073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797772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964470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131169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297868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1464566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1631265" marR="0" indent="-297676" algn="l" defTabSz="30847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548474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06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317">
          <p15:clr>
            <a:srgbClr val="F26B43"/>
          </p15:clr>
        </p15:guide>
        <p15:guide id="3" pos="11204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8279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1472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3690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784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270" imgH="270" progId="TCLayout.ActiveDocument.1">
                  <p:embed/>
                </p:oleObj>
              </mc:Choice>
              <mc:Fallback>
                <p:oleObj name="think-cell スライド" r:id="rId11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2" y="482454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352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</p:sldLayoutIdLst>
  <p:transition spd="med"/>
  <p:hf hdr="0" ftr="0" dt="0"/>
  <p:txStyles>
    <p:titleStyle>
      <a:lvl1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ヒラギノ角ゴ ProN W6"/>
          <a:sym typeface="ヒラギノ角ゴ ProN W6"/>
        </a:defRPr>
      </a:lvl1pPr>
      <a:lvl2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titleStyle>
    <p:bodyStyle>
      <a:lvl1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1pPr>
      <a:lvl2pPr marL="696365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946341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1196318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1446296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1696272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1946250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2196228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2446204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bodyStyle>
    <p:otherStyle>
      <a:lvl1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1652" y="485927"/>
            <a:ext cx="17284700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7342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</p:sldLayoutIdLst>
  <p:transition spd="med"/>
  <p:hf hdr="0" ftr="0" dt="0"/>
  <p:txStyles>
    <p:titleStyle>
      <a:lvl1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15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2pPr>
      <a:lvl3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3pPr>
      <a:lvl4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4pPr>
      <a:lvl5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5pPr>
      <a:lvl6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6pPr>
      <a:lvl7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7pPr>
      <a:lvl8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8pPr>
      <a:lvl9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9pPr>
    </p:titleStyle>
    <p:bodyStyle>
      <a:lvl1pPr marL="0" marR="0" indent="0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696225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2pPr>
      <a:lvl3pPr marL="946152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3pPr>
      <a:lvl4pPr marL="1196080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4pPr>
      <a:lvl5pPr marL="1446007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5pPr>
      <a:lvl6pPr marL="1695933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6pPr>
      <a:lvl7pPr marL="1945862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7pPr>
      <a:lvl8pPr marL="2195788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8pPr>
      <a:lvl9pPr marL="2445715" marR="0" indent="-446298" algn="l" defTabSz="46248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598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9pPr>
    </p:bodyStyle>
    <p:otherStyle>
      <a:lvl1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31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158">
          <p15:clr>
            <a:srgbClr val="F26B43"/>
          </p15:clr>
        </p15:guide>
        <p15:guide id="3" pos="5602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0430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4046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1990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ヒラギノ角ゴ ProN W6"/>
          <a:sym typeface="ヒラギノ角ゴ ProN W6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320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ヒラギノ角ゴ ProN W6"/>
          <a:sym typeface="ヒラギノ角ゴ ProN W6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ヒラギノ角ゴ ProN W6"/>
          <a:ea typeface="ヒラギノ角ゴ ProN W6"/>
          <a:cs typeface="ヒラギノ角ゴ ProN W6"/>
          <a:sym typeface="ヒラギノ角ゴ ProN W6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8242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267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3" y="482454"/>
            <a:ext cx="16962510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169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transition spd="med"/>
  <p:hf hdr="0" ftr="0" dt="0"/>
  <p:txStyles>
    <p:titleStyle>
      <a:lvl1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522247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709720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897194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084667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272141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459614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1647088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1834561" marR="0" indent="-334773" algn="l" defTabSz="346919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61682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1" y="482453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9314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</p:sldLayoutIdLst>
  <p:transition spd="med"/>
  <p:hf hdr="0" ftr="0" dt="0"/>
  <p:txStyles>
    <p:title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2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2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1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416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414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412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410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408" marR="0" indent="-446424" algn="l" defTabSz="46262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546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02446" y="485926"/>
            <a:ext cx="17283111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8157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</p:sldLayoutIdLst>
  <p:transition spd="med"/>
  <p:hf hdr="0" ftr="0" dt="0"/>
  <p:txStyles>
    <p:title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46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483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498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51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527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542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556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571" marR="0" indent="-446454" algn="l" defTabSz="46265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601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389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677792" y="482454"/>
            <a:ext cx="16962509" cy="80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rPr lang="en-US" dirty="0"/>
              <a:t>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6053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2" r:id="rId8"/>
  </p:sldLayoutIdLst>
  <p:transition spd="med"/>
  <p:hf hdr="0" ftr="0" dt="0"/>
  <p:txStyles>
    <p:titleStyle>
      <a:lvl1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メイリオ"/>
        </a:defRPr>
      </a:lvl1pPr>
      <a:lvl2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titleStyle>
    <p:bodyStyle>
      <a:lvl1pPr marL="0" marR="0" indent="0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1pPr>
      <a:lvl2pPr marL="696365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2pPr>
      <a:lvl3pPr marL="946341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3pPr>
      <a:lvl4pPr marL="1196318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4pPr>
      <a:lvl5pPr marL="1446296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5pPr>
      <a:lvl6pPr marL="1696272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6pPr>
      <a:lvl7pPr marL="1946250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7pPr>
      <a:lvl8pPr marL="2196228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8pPr>
      <a:lvl9pPr marL="2446204" marR="0" indent="-446387" algn="l" defTabSz="462582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kumimoji="1"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j-cs"/>
          <a:sym typeface="メイリオ"/>
        </a:defRPr>
      </a:lvl9pPr>
    </p:bodyStyle>
    <p:otherStyle>
      <a:lvl1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1pPr>
      <a:lvl2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2pPr>
      <a:lvl3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3pPr>
      <a:lvl4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4pPr>
      <a:lvl5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5pPr>
      <a:lvl6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6pPr>
      <a:lvl7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7pPr>
      <a:lvl8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8pPr>
      <a:lvl9pPr marL="0" marR="0" indent="0" algn="ctr" defTabSz="822477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1"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Rakuten Global B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2">
          <p15:clr>
            <a:srgbClr val="F26B43"/>
          </p15:clr>
        </p15:guide>
        <p15:guide id="2" pos="408">
          <p15:clr>
            <a:srgbClr val="F26B43"/>
          </p15:clr>
        </p15:guide>
        <p15:guide id="3" pos="11112">
          <p15:clr>
            <a:srgbClr val="F26B43"/>
          </p15:clr>
        </p15:guide>
        <p15:guide id="4" orient="horz" pos="58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2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8288000" cy="457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/>
          </a:p>
        </p:txBody>
      </p:sp>
      <p:pic>
        <p:nvPicPr>
          <p:cNvPr id="8" name="Picture 7" descr="A blue background with red dots&#10;&#10;Description automatically generated">
            <a:extLst>
              <a:ext uri="{FF2B5EF4-FFF2-40B4-BE49-F238E27FC236}">
                <a16:creationId xmlns:a16="http://schemas.microsoft.com/office/drawing/2014/main" id="{B7448DEB-B159-0A15-55CE-5F082A002A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>
          <a:xfrm>
            <a:off x="1" y="-2"/>
            <a:ext cx="18287999" cy="457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EFC0818-5052-9ECA-B083-5183007B5013}"/>
              </a:ext>
            </a:extLst>
          </p:cNvPr>
          <p:cNvSpPr/>
          <p:nvPr/>
        </p:nvSpPr>
        <p:spPr>
          <a:xfrm>
            <a:off x="0" y="-2"/>
            <a:ext cx="18288000" cy="4572000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DE"/>
          </a:p>
        </p:txBody>
      </p:sp>
      <p:sp>
        <p:nvSpPr>
          <p:cNvPr id="6" name="TextBox 5"/>
          <p:cNvSpPr txBox="1"/>
          <p:nvPr/>
        </p:nvSpPr>
        <p:spPr>
          <a:xfrm>
            <a:off x="4904094" y="3556335"/>
            <a:ext cx="88983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6000" b="1" dirty="0" err="1">
                <a:solidFill>
                  <a:schemeClr val="bg1"/>
                </a:solidFill>
                <a:latin typeface="+mj-lt"/>
              </a:rPr>
              <a:t>Yutaro</a:t>
            </a:r>
            <a:r>
              <a:rPr lang="et-EE" sz="6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6000" b="1" dirty="0" err="1">
                <a:solidFill>
                  <a:schemeClr val="bg1"/>
                </a:solidFill>
                <a:latin typeface="+mj-lt"/>
              </a:rPr>
              <a:t>Yoshii</a:t>
            </a: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392600"/>
              </p:ext>
            </p:extLst>
          </p:nvPr>
        </p:nvGraphicFramePr>
        <p:xfrm>
          <a:off x="4904094" y="4571999"/>
          <a:ext cx="12919882" cy="5496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09271">
                  <a:extLst>
                    <a:ext uri="{9D8B030D-6E8A-4147-A177-3AD203B41FA5}">
                      <a16:colId xmlns:a16="http://schemas.microsoft.com/office/drawing/2014/main" val="2507957720"/>
                    </a:ext>
                  </a:extLst>
                </a:gridCol>
                <a:gridCol w="5586354">
                  <a:extLst>
                    <a:ext uri="{9D8B030D-6E8A-4147-A177-3AD203B41FA5}">
                      <a16:colId xmlns:a16="http://schemas.microsoft.com/office/drawing/2014/main" val="1038993666"/>
                    </a:ext>
                  </a:extLst>
                </a:gridCol>
                <a:gridCol w="2179368">
                  <a:extLst>
                    <a:ext uri="{9D8B030D-6E8A-4147-A177-3AD203B41FA5}">
                      <a16:colId xmlns:a16="http://schemas.microsoft.com/office/drawing/2014/main" val="3874253965"/>
                    </a:ext>
                  </a:extLst>
                </a:gridCol>
                <a:gridCol w="2344889">
                  <a:extLst>
                    <a:ext uri="{9D8B030D-6E8A-4147-A177-3AD203B41FA5}">
                      <a16:colId xmlns:a16="http://schemas.microsoft.com/office/drawing/2014/main" val="3016994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i="1" dirty="0"/>
                        <a:t>EUTD Team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i="1" dirty="0"/>
                        <a:t>Role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i="1" dirty="0"/>
                        <a:t>Location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i="1" dirty="0"/>
                        <a:t>Joined Date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2062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t-EE" sz="2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Membership</a:t>
                      </a: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t-EE" sz="2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Platform</a:t>
                      </a: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t-EE" sz="2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Dept</a:t>
                      </a: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.</a:t>
                      </a:r>
                      <a:endParaRPr lang="en-US" sz="24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Intern (</a:t>
                      </a:r>
                      <a:r>
                        <a:rPr lang="et-EE" sz="2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Backend</a:t>
                      </a: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t-EE" sz="2400" b="1" dirty="0" err="1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development</a:t>
                      </a: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)</a:t>
                      </a:r>
                      <a:endParaRPr lang="en-US" sz="24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Berlin</a:t>
                      </a:r>
                      <a:endParaRPr lang="en-US" sz="24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t-EE" sz="2400" b="1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4.9.2023</a:t>
                      </a:r>
                      <a:endParaRPr lang="en-US" sz="2400" b="1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8671145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en-US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76688278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pPr marL="0" marR="0" lvl="0" indent="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j-cs"/>
                          <a:sym typeface="メイリオ"/>
                        </a:rPr>
                        <a:t>Previous role(s):</a:t>
                      </a:r>
                      <a:endParaRPr kumimoji="1" lang="en-US" sz="2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  <a:sym typeface="メイリオ"/>
                      </a:endParaRP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Research assistent at AQUA,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Advanced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Quantum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Architecture</a:t>
                      </a:r>
                      <a:endParaRPr kumimoji="1" lang="et-EE" sz="2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  <a:sym typeface="メイリオ"/>
                      </a:endParaRP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kumimoji="1" lang="en-US" sz="2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  <a:sym typeface="メイリオ"/>
                      </a:endParaRPr>
                    </a:p>
                    <a:p>
                      <a:pPr marL="0" marR="0" lvl="0" indent="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j-cs"/>
                          <a:sym typeface="メイリオ"/>
                        </a:rPr>
                        <a:t>Skills and Current Projects:</a:t>
                      </a: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React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,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Kotlin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,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node.js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etc</a:t>
                      </a: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Astrophysics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simulation</a:t>
                      </a:r>
                      <a:endParaRPr kumimoji="1" lang="et-EE" sz="2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  <a:sym typeface="メイリオ"/>
                      </a:endParaRP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Node.js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library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development</a:t>
                      </a:r>
                      <a:endParaRPr kumimoji="1" lang="et-EE" sz="2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/>
                        <a:sym typeface="メイリオ"/>
                      </a:endParaRPr>
                    </a:p>
                    <a:p>
                      <a:pPr marL="342900" marR="0" lvl="0" indent="-34290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Cloudflare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/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Openwrt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/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Nginx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/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Ubuntu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(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home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server: martian17.com)</a:t>
                      </a:r>
                    </a:p>
                    <a:p>
                      <a:pPr marL="0" marR="0" lvl="0" indent="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sz="2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j-cs"/>
                        <a:sym typeface="メイリオ"/>
                      </a:endParaRPr>
                    </a:p>
                    <a:p>
                      <a:pPr marL="0" marR="0" lvl="0" indent="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2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j-cs"/>
                          <a:sym typeface="メイリオ"/>
                        </a:rPr>
                        <a:t>Anything else you want to share:</a:t>
                      </a:r>
                    </a:p>
                    <a:p>
                      <a:pPr marL="0" marR="0" lvl="0" indent="0" algn="l" defTabSz="4626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I love JavaScript,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perhaps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too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much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.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But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I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like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</a:t>
                      </a:r>
                      <a:r>
                        <a:rPr kumimoji="1" lang="et-EE" sz="24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Kotlin</a:t>
                      </a:r>
                      <a:r>
                        <a:rPr kumimoji="1" lang="et-EE" sz="2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メイリオ"/>
                        </a:rPr>
                        <a:t> too.</a:t>
                      </a:r>
                      <a:endParaRPr lang="en-US" dirty="0"/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7808065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8CDE783-8DA8-4583-92CA-90BD80ED7F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2824" y="2538526"/>
            <a:ext cx="2987276" cy="3375622"/>
          </a:xfrm>
          <a:prstGeom prst="rect">
            <a:avLst/>
          </a:prstGeom>
        </p:spPr>
      </p:pic>
      <p:pic>
        <p:nvPicPr>
          <p:cNvPr id="11" name="Picture 10" descr="A person taking a selfie&#10;&#10;Description automatically generated">
            <a:extLst>
              <a:ext uri="{FF2B5EF4-FFF2-40B4-BE49-F238E27FC236}">
                <a16:creationId xmlns:a16="http://schemas.microsoft.com/office/drawing/2014/main" id="{8E7D22CC-A8BC-1BFE-E5F3-CED0FBC7D25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03" t="3775" r="37863" b="38414"/>
          <a:stretch/>
        </p:blipFill>
        <p:spPr>
          <a:xfrm>
            <a:off x="1622823" y="2538526"/>
            <a:ext cx="2987276" cy="337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91379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2_Corporate_confidential_16x9_v2.0.potx" id="{DC8FF7A2-8C6B-4EBA-896D-35168D495608}" vid="{7AC24E82-3E0A-4190-BA66-9AC3CF3740B3}"/>
    </a:ext>
  </a:extLst>
</a:theme>
</file>

<file path=ppt/theme/theme10.xml><?xml version="1.0" encoding="utf-8"?>
<a:theme xmlns:a="http://schemas.openxmlformats.org/drawingml/2006/main" name="1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23" id="{F901028D-2F7F-4493-9D72-8BC640ABAB4A}" vid="{7B7AF32F-D101-41C1-B06F-B054C6356D08}"/>
    </a:ext>
  </a:extLst>
</a:theme>
</file>

<file path=ppt/theme/theme11.xml><?xml version="1.0" encoding="utf-8"?>
<a:theme xmlns:a="http://schemas.openxmlformats.org/drawingml/2006/main" name="2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" id="{7441F278-D3E2-0445-8DA0-6048518E60EA}" vid="{BF64BE49-8C51-ED45-A65B-B6CAAA789194}"/>
    </a:ext>
  </a:extLst>
</a:theme>
</file>

<file path=ppt/theme/theme12.xml><?xml version="1.0" encoding="utf-8"?>
<a:theme xmlns:a="http://schemas.openxmlformats.org/drawingml/2006/main" name="3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23" id="{F901028D-2F7F-4493-9D72-8BC640ABAB4A}" vid="{7B7AF32F-D101-41C1-B06F-B054C6356D08}"/>
    </a:ext>
  </a:extLst>
</a:theme>
</file>

<file path=ppt/theme/theme13.xml><?xml version="1.0" encoding="utf-8"?>
<a:theme xmlns:a="http://schemas.openxmlformats.org/drawingml/2006/main" name="4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3" id="{03BB6033-5000-4161-A267-D5C2B91B0EA1}" vid="{64B5F1D1-64FD-4D34-A892-385633CA1EA4}"/>
    </a:ext>
  </a:extLst>
</a:theme>
</file>

<file path=ppt/theme/theme14.xml><?xml version="1.0" encoding="utf-8"?>
<a:theme xmlns:a="http://schemas.openxmlformats.org/drawingml/2006/main" name="5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3" id="{03BB6033-5000-4161-A267-D5C2B91B0EA1}" vid="{64B5F1D1-64FD-4D34-A892-385633CA1EA4}"/>
    </a:ext>
  </a:extLst>
</a:theme>
</file>

<file path=ppt/theme/theme15.xml><?xml version="1.0" encoding="utf-8"?>
<a:theme xmlns:a="http://schemas.openxmlformats.org/drawingml/2006/main" name="3_R-Style 2017">
  <a:themeElements>
    <a:clrScheme name="R-Style 2017">
      <a:dk1>
        <a:srgbClr val="000000"/>
      </a:dk1>
      <a:lt1>
        <a:srgbClr val="FFFFFF"/>
      </a:lt1>
      <a:dk2>
        <a:srgbClr val="BE0000"/>
      </a:dk2>
      <a:lt2>
        <a:srgbClr val="F0F0F0"/>
      </a:lt2>
      <a:accent1>
        <a:srgbClr val="BD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1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ヒラギノ角ゴ ProN W3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1200"/>
          </a:spcAft>
          <a:buClrTx/>
          <a:buSzTx/>
          <a:buFontTx/>
          <a:buNone/>
          <a:tabLst/>
          <a:defRPr kumimoji="1" sz="28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2_Corporate_confidential_16x9_v1" id="{54A7EB95-A3B0-B542-BC47-DCA72471A5B9}" vid="{217A73CF-D1E8-ED49-99D9-C38CD0FA4DAE}"/>
    </a:ext>
  </a:extLst>
</a:theme>
</file>

<file path=ppt/theme/theme16.xml><?xml version="1.0" encoding="utf-8"?>
<a:theme xmlns:a="http://schemas.openxmlformats.org/drawingml/2006/main" name="Office テーマ">
  <a:themeElements>
    <a:clrScheme name="R-Style v3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 sz="15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square" rtlCol="0">
        <a:spAutoFit/>
      </a:bodyPr>
      <a:lstStyle>
        <a:defPPr>
          <a:defRPr kumimoji="1" sz="1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3_Corporate_very-confidential_4x3_v3.0.potx" id="{D92AD676-A968-42C0-ACC8-6F0292DAED29}" vid="{AAE73595-CF38-4F5C-BEEC-70B1C356C5E1}"/>
    </a:ext>
  </a:extLst>
</a:theme>
</file>

<file path=ppt/theme/theme17.xml><?xml version="1.0" encoding="utf-8"?>
<a:theme xmlns:a="http://schemas.openxmlformats.org/drawingml/2006/main" name="5_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3_Corporate_very-confidential_16x9_v2.0.potx" id="{7BF9595D-9B12-4611-95AE-B4E80E25A9D4}" vid="{202F7106-ADF2-4F36-80BF-2DDF5A368F53}"/>
    </a:ext>
  </a:extLst>
</a:theme>
</file>

<file path=ppt/theme/theme18.xml><?xml version="1.0" encoding="utf-8"?>
<a:theme xmlns:a="http://schemas.openxmlformats.org/drawingml/2006/main" name="6_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2_Corporate_very-confidential_16x9_v3.0.potx" id="{FDCC9BF8-6DD6-4326-90BB-7160719B22D6}" vid="{A89EF335-6828-49A1-AFE5-B496C5C494C3}"/>
    </a:ext>
  </a:extLst>
</a:theme>
</file>

<file path=ppt/theme/theme19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3"/>
            <a:ea typeface="ヒラギノ角ゴ ProN W3"/>
            <a:cs typeface="ヒラギノ角ゴ ProN W3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3"/>
            <a:ea typeface="ヒラギノ角ゴ ProN W3"/>
            <a:cs typeface="ヒラギノ角ゴ ProN W3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R-Style 2017">
  <a:themeElements>
    <a:clrScheme name="R-Style 2017">
      <a:dk1>
        <a:srgbClr val="000000"/>
      </a:dk1>
      <a:lt1>
        <a:srgbClr val="FFFFFF"/>
      </a:lt1>
      <a:dk2>
        <a:srgbClr val="BE0000"/>
      </a:dk2>
      <a:lt2>
        <a:srgbClr val="F0F0F0"/>
      </a:lt2>
      <a:accent1>
        <a:srgbClr val="BD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1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ヒラギノ角ゴ ProN W3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1200"/>
          </a:spcAft>
          <a:buClrTx/>
          <a:buSzTx/>
          <a:buFontTx/>
          <a:buNone/>
          <a:tabLst/>
          <a:defRPr kumimoji="1" sz="28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 Rakuten 201709" id="{CB3AA1A6-B706-2A47-8DE6-5276CB3F9F2C}" vid="{9564BA6A-548D-6F44-BAB9-2FB904701F80}"/>
    </a:ext>
  </a:extLst>
</a:theme>
</file>

<file path=ppt/theme/theme3.xml><?xml version="1.0" encoding="utf-8"?>
<a:theme xmlns:a="http://schemas.openxmlformats.org/drawingml/2006/main" name="1_R-Style 2017">
  <a:themeElements>
    <a:clrScheme name="R-Style 2017">
      <a:dk1>
        <a:srgbClr val="000000"/>
      </a:dk1>
      <a:lt1>
        <a:srgbClr val="FFFFFF"/>
      </a:lt1>
      <a:dk2>
        <a:srgbClr val="BE0000"/>
      </a:dk2>
      <a:lt2>
        <a:srgbClr val="F0F0F0"/>
      </a:lt2>
      <a:accent1>
        <a:srgbClr val="BD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1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ヒラギノ角ゴ ProN W3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1200"/>
          </a:spcAft>
          <a:buClrTx/>
          <a:buSzTx/>
          <a:buFontTx/>
          <a:buNone/>
          <a:tabLst/>
          <a:defRPr kumimoji="1" sz="28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2_Corporate_confidential_16x9_v1" id="{54A7EB95-A3B0-B542-BC47-DCA72471A5B9}" vid="{217A73CF-D1E8-ED49-99D9-C38CD0FA4DAE}"/>
    </a:ext>
  </a:extLst>
</a:theme>
</file>

<file path=ppt/theme/theme4.xml><?xml version="1.0" encoding="utf-8"?>
<a:theme xmlns:a="http://schemas.openxmlformats.org/drawingml/2006/main" name="2_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3_Corporate_very-confidential_16x9_v2.0.potx" id="{7BF9595D-9B12-4611-95AE-B4E80E25A9D4}" vid="{202F7106-ADF2-4F36-80BF-2DDF5A368F53}"/>
    </a:ext>
  </a:extLst>
</a:theme>
</file>

<file path=ppt/theme/theme5.xml><?xml version="1.0" encoding="utf-8"?>
<a:theme xmlns:a="http://schemas.openxmlformats.org/drawingml/2006/main" name="3_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6" id="{D5A8F481-C716-ED4F-805C-581C240EF583}" vid="{044ECF11-2B41-4C40-95A7-A8885C441719}"/>
    </a:ext>
  </a:extLst>
</a:theme>
</file>

<file path=ppt/theme/theme6.xml><?xml version="1.0" encoding="utf-8"?>
<a:theme xmlns:a="http://schemas.openxmlformats.org/drawingml/2006/main" name="1_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02_Corporate_confidential_16x9_v2.0.potx" id="{DC8FF7A2-8C6B-4EBA-896D-35168D495608}" vid="{7AC24E82-3E0A-4190-BA66-9AC3CF3740B3}"/>
    </a:ext>
  </a:extLst>
</a:theme>
</file>

<file path=ppt/theme/theme7.xml><?xml version="1.0" encoding="utf-8"?>
<a:theme xmlns:a="http://schemas.openxmlformats.org/drawingml/2006/main" name="4_R-Style v2.0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1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メイリオ" panose="020B0604030504040204" pitchFamily="50" charset="-128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900"/>
          </a:spcAft>
          <a:buClrTx/>
          <a:buSzTx/>
          <a:buFontTx/>
          <a:buNone/>
          <a:tabLst/>
          <a:defRPr kumimoji="1" sz="24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Rakuten Template" id="{53595652-700A-AF46-B81B-A1176B6FC496}" vid="{4B6244CE-5414-B94A-BBA2-2AE350CF5CE5}"/>
    </a:ext>
  </a:extLst>
</a:theme>
</file>

<file path=ppt/theme/theme8.xml><?xml version="1.0" encoding="utf-8"?>
<a:theme xmlns:a="http://schemas.openxmlformats.org/drawingml/2006/main" name="R-Style v3.0">
  <a:themeElements>
    <a:clrScheme name="R-Style v2.0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ユーザー定義 1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23" id="{F901028D-2F7F-4493-9D72-8BC640ABAB4A}" vid="{7B7AF32F-D101-41C1-B06F-B054C6356D08}"/>
    </a:ext>
  </a:extLst>
</a:theme>
</file>

<file path=ppt/theme/theme9.xml><?xml version="1.0" encoding="utf-8"?>
<a:theme xmlns:a="http://schemas.openxmlformats.org/drawingml/2006/main" name="2_R-Style 2017">
  <a:themeElements>
    <a:clrScheme name="R-Style2017">
      <a:dk1>
        <a:srgbClr val="000000"/>
      </a:dk1>
      <a:lt1>
        <a:srgbClr val="FFFFFF"/>
      </a:lt1>
      <a:dk2>
        <a:srgbClr val="BF0000"/>
      </a:dk2>
      <a:lt2>
        <a:srgbClr val="F0F0F0"/>
      </a:lt2>
      <a:accent1>
        <a:srgbClr val="BF0000"/>
      </a:accent1>
      <a:accent2>
        <a:srgbClr val="EC4848"/>
      </a:accent2>
      <a:accent3>
        <a:srgbClr val="FFBA46"/>
      </a:accent3>
      <a:accent4>
        <a:srgbClr val="7FDB4B"/>
      </a:accent4>
      <a:accent5>
        <a:srgbClr val="37B4F3"/>
      </a:accent5>
      <a:accent6>
        <a:srgbClr val="2D5BD6"/>
      </a:accent6>
      <a:hlink>
        <a:srgbClr val="0000FF"/>
      </a:hlink>
      <a:folHlink>
        <a:srgbClr val="800080"/>
      </a:folHlink>
    </a:clrScheme>
    <a:fontScheme name="R-Style 2017">
      <a:majorFont>
        <a:latin typeface="Rakuten Global B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>
          <a:noFill/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noAutofit/>
      </a:bodyPr>
      <a:lstStyle>
        <a:defPPr marL="0" marR="0" indent="0" algn="ctr" defTabSz="82254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1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n-ea"/>
            <a:cs typeface="ヒラギノ角ゴ ProN W3"/>
            <a:sym typeface="ヒラギノ角ゴ ProN W3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t">
        <a:spAutoFit/>
      </a:bodyPr>
      <a:lstStyle>
        <a:defPPr marL="0" marR="0" indent="0" algn="l" defTabSz="822546" rtl="0" fontAlgn="auto" latinLnBrk="0" hangingPunct="0">
          <a:lnSpc>
            <a:spcPct val="100000"/>
          </a:lnSpc>
          <a:spcAft>
            <a:spcPts val="1200"/>
          </a:spcAft>
          <a:buClrTx/>
          <a:buSzTx/>
          <a:buFontTx/>
          <a:buNone/>
          <a:tabLst/>
          <a:defRPr kumimoji="1" sz="2800" dirty="0" err="1" smtClean="0">
            <a:latin typeface="+mn-lt"/>
            <a:ea typeface="+mn-ea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プレゼンテーション2" id="{C7CF8FA8-EBE3-49AE-A493-24015F8F7018}" vid="{C2D216B8-856F-47D5-B80D-F3D4F36F893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2_Corporate_confidential_16x9_v2.0</Template>
  <TotalTime>13869</TotalTime>
  <Words>88</Words>
  <Application>Microsoft Macintosh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27" baseType="lpstr">
      <vt:lpstr>Arial</vt:lpstr>
      <vt:lpstr>Helvetica Neue</vt:lpstr>
      <vt:lpstr>Rakuten Global B</vt:lpstr>
      <vt:lpstr>Rakuten Global R</vt:lpstr>
      <vt:lpstr>Segoe UI</vt:lpstr>
      <vt:lpstr>ヒラギノ角ゴ ProN W6</vt:lpstr>
      <vt:lpstr>R-Style v2.0</vt:lpstr>
      <vt:lpstr>R-Style 2017</vt:lpstr>
      <vt:lpstr>1_R-Style 2017</vt:lpstr>
      <vt:lpstr>2_R-Style v2.0</vt:lpstr>
      <vt:lpstr>3_R-Style v2.0</vt:lpstr>
      <vt:lpstr>1_R-Style v2.0</vt:lpstr>
      <vt:lpstr>4_R-Style v2.0</vt:lpstr>
      <vt:lpstr>R-Style v3.0</vt:lpstr>
      <vt:lpstr>2_R-Style 2017</vt:lpstr>
      <vt:lpstr>1_R-Style v3.0</vt:lpstr>
      <vt:lpstr>2_R-Style v3.0</vt:lpstr>
      <vt:lpstr>3_R-Style v3.0</vt:lpstr>
      <vt:lpstr>4_R-Style v3.0</vt:lpstr>
      <vt:lpstr>5_R-Style v3.0</vt:lpstr>
      <vt:lpstr>3_R-Style 2017</vt:lpstr>
      <vt:lpstr>Office テーマ</vt:lpstr>
      <vt:lpstr>5_R-Style v2.0</vt:lpstr>
      <vt:lpstr>6_R-Style v3.0</vt:lpstr>
      <vt:lpstr>think-cell Slide</vt:lpstr>
      <vt:lpstr>think-cell スライド</vt:lpstr>
      <vt:lpstr>PowerPoint Presentation</vt:lpstr>
    </vt:vector>
  </TitlesOfParts>
  <Company>MIS-SCCM01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-Style template v2.0</dc:title>
  <dc:creator>Gerli Laine</dc:creator>
  <cp:lastModifiedBy>Yoshii, Yutaro</cp:lastModifiedBy>
  <cp:revision>536</cp:revision>
  <dcterms:created xsi:type="dcterms:W3CDTF">2018-07-18T16:09:26Z</dcterms:created>
  <dcterms:modified xsi:type="dcterms:W3CDTF">2023-10-23T11:00:37Z</dcterms:modified>
</cp:coreProperties>
</file>